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2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3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7" r:id="rId3"/>
    <p:sldId id="395" r:id="rId4"/>
    <p:sldId id="396" r:id="rId5"/>
    <p:sldId id="398" r:id="rId6"/>
    <p:sldId id="397" r:id="rId7"/>
    <p:sldId id="401" r:id="rId8"/>
    <p:sldId id="402" r:id="rId9"/>
    <p:sldId id="407" r:id="rId10"/>
    <p:sldId id="399" r:id="rId11"/>
    <p:sldId id="411" r:id="rId12"/>
    <p:sldId id="400" r:id="rId13"/>
    <p:sldId id="412" r:id="rId14"/>
    <p:sldId id="403" r:id="rId15"/>
    <p:sldId id="404" r:id="rId16"/>
    <p:sldId id="413" r:id="rId17"/>
    <p:sldId id="405" r:id="rId18"/>
    <p:sldId id="408" r:id="rId19"/>
    <p:sldId id="409" r:id="rId20"/>
    <p:sldId id="410" r:id="rId21"/>
  </p:sldIdLst>
  <p:sldSz cx="12192000" cy="6858000"/>
  <p:notesSz cx="6858000" cy="9144000"/>
  <p:embeddedFontLst>
    <p:embeddedFont>
      <p:font typeface="Cambria" panose="02040503050406030204" pitchFamily="18" charset="0"/>
      <p:regular r:id="rId24"/>
      <p:bold r:id="rId25"/>
      <p:italic r:id="rId26"/>
      <p:boldItalic r:id="rId27"/>
    </p:embeddedFont>
    <p:embeddedFont>
      <p:font typeface="Cambria Math" panose="02040503050406030204" pitchFamily="18" charset="0"/>
      <p:regular r:id="rId28"/>
    </p:embeddedFont>
  </p:embeddedFontLst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28" autoAdjust="0"/>
  </p:normalViewPr>
  <p:slideViewPr>
    <p:cSldViewPr snapToGrid="0" showGuides="1">
      <p:cViewPr varScale="1">
        <p:scale>
          <a:sx n="100" d="100"/>
          <a:sy n="100" d="100"/>
        </p:scale>
        <p:origin x="990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heme" Target="../theme/theme3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2.05.2022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heme" Target="../theme/theme2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2.05.202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7.sv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7.svg"/><Relationship Id="rId4" Type="http://schemas.openxmlformats.org/officeDocument/2006/relationships/tags" Target="../tags/tag125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7.svg"/><Relationship Id="rId4" Type="http://schemas.openxmlformats.org/officeDocument/2006/relationships/tags" Target="../tags/tag132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image" Target="../media/image7.svg"/><Relationship Id="rId5" Type="http://schemas.openxmlformats.org/officeDocument/2006/relationships/tags" Target="../tags/tag140.xml"/><Relationship Id="rId10" Type="http://schemas.openxmlformats.org/officeDocument/2006/relationships/image" Target="../media/image6.png"/><Relationship Id="rId4" Type="http://schemas.openxmlformats.org/officeDocument/2006/relationships/tags" Target="../tags/tag139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6.xml"/><Relationship Id="rId7" Type="http://schemas.openxmlformats.org/officeDocument/2006/relationships/image" Target="../media/image6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1.xml"/><Relationship Id="rId7" Type="http://schemas.openxmlformats.org/officeDocument/2006/relationships/image" Target="../media/image6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7.sv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0.xml"/><Relationship Id="rId7" Type="http://schemas.openxmlformats.org/officeDocument/2006/relationships/image" Target="../media/image6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5000/" TargetMode="Externa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nsorflow.org/tutorials/audio/simple_audio" TargetMode="External"/><Relationship Id="rId2" Type="http://schemas.openxmlformats.org/officeDocument/2006/relationships/hyperlink" Target="https://www.tensorflow.org/hub/tutorials/object_detection" TargetMode="Externa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26" Type="http://schemas.openxmlformats.org/officeDocument/2006/relationships/image" Target="../media/image33.png"/><Relationship Id="rId3" Type="http://schemas.openxmlformats.org/officeDocument/2006/relationships/image" Target="../media/image10.svg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2" Type="http://schemas.openxmlformats.org/officeDocument/2006/relationships/image" Target="../media/image9.png"/><Relationship Id="rId16" Type="http://schemas.openxmlformats.org/officeDocument/2006/relationships/image" Target="../media/image23.svg"/><Relationship Id="rId20" Type="http://schemas.openxmlformats.org/officeDocument/2006/relationships/image" Target="../media/image27.sv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svg"/><Relationship Id="rId5" Type="http://schemas.openxmlformats.org/officeDocument/2006/relationships/image" Target="../media/image12.sv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10" Type="http://schemas.openxmlformats.org/officeDocument/2006/relationships/image" Target="../media/image17.sv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29.svg"/><Relationship Id="rId27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5F55B-B155-4EA9-A185-C13A200812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 Intensive Computing</a:t>
            </a:r>
            <a:endParaRPr lang="en-AT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A7A0AC-C144-4990-9913-C4C2FAEF61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ssignment 3 – Code Offloading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A85166-F587-4E51-A683-764C8C3A9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2745731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AD8EE-95AF-4ADB-BDA5-6024FEDD6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operation between local and remote machine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D65596-5462-4847-9010-47C29CAC71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access service remotely through REST interface</a:t>
            </a:r>
          </a:p>
          <a:p>
            <a:endParaRPr lang="en-US" dirty="0"/>
          </a:p>
          <a:p>
            <a:r>
              <a:rPr lang="en-US" dirty="0"/>
              <a:t>Flask Webserver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from flask import Flask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app = Flask(__name__)</a:t>
            </a:r>
          </a:p>
          <a:p>
            <a:pPr marL="0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#Redirecting POST and GET request to method hello()</a:t>
            </a:r>
          </a:p>
          <a:p>
            <a:pPr marL="0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p.route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(“/”, methods=['POST', 'GET'])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ef hello():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return "Hello World!"</a:t>
            </a:r>
          </a:p>
          <a:p>
            <a:pPr marL="0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__name__ == "__main__":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pp.ru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endParaRPr lang="en-AT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85C0CE-0B78-48AA-92B5-2E959D0751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D812FD-2FB4-4E36-8CA0-D42329AB52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760452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400BC-887F-41E8-B5B5-2D6182035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put/Output</a:t>
            </a:r>
            <a:r>
              <a:rPr lang="en-US" dirty="0"/>
              <a:t> from HTTP REST interface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97D601-B05A-4F0C-8354-4730947A2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549401"/>
            <a:ext cx="9288463" cy="382588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from flask import Flask, 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request, Response,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jsonify</a:t>
            </a:r>
            <a:endParaRPr lang="en-AT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7FE7FB-A8AF-4E7D-8A32-C3937F74E52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AE421A-FDDC-49F7-A072-9F3DD546B9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C65A4C5-F69B-4F36-8804-BF54A4342549}"/>
              </a:ext>
            </a:extLst>
          </p:cNvPr>
          <p:cNvSpPr txBox="1">
            <a:spLocks/>
          </p:cNvSpPr>
          <p:nvPr/>
        </p:nvSpPr>
        <p:spPr bwMode="gray">
          <a:xfrm>
            <a:off x="1308100" y="2690092"/>
            <a:ext cx="9288463" cy="382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_inpu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quest.values.ge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‘VAR_NAME’)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8DF4C7C-6A1E-4357-9619-AF3D0328D02D}"/>
              </a:ext>
            </a:extLst>
          </p:cNvPr>
          <p:cNvSpPr txBox="1">
            <a:spLocks/>
          </p:cNvSpPr>
          <p:nvPr/>
        </p:nvSpPr>
        <p:spPr bwMode="gray">
          <a:xfrm>
            <a:off x="1308100" y="5050701"/>
            <a:ext cx="9288463" cy="7589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us_code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Response(status = 200)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atus_code</a:t>
            </a:r>
            <a:endParaRPr lang="en-AT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4607A0-2684-4336-A6D0-D3DC0761C36C}"/>
              </a:ext>
            </a:extLst>
          </p:cNvPr>
          <p:cNvSpPr txBox="1"/>
          <p:nvPr/>
        </p:nvSpPr>
        <p:spPr>
          <a:xfrm>
            <a:off x="1233177" y="2225964"/>
            <a:ext cx="7707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tting input value:</a:t>
            </a:r>
            <a:endParaRPr lang="en-AT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7BF0BF-3676-4AEA-8568-E3CE100F0748}"/>
              </a:ext>
            </a:extLst>
          </p:cNvPr>
          <p:cNvSpPr txBox="1"/>
          <p:nvPr/>
        </p:nvSpPr>
        <p:spPr>
          <a:xfrm>
            <a:off x="1260885" y="4635934"/>
            <a:ext cx="7707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turning response code:</a:t>
            </a:r>
            <a:endParaRPr lang="en-AT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AD454B-61E1-492F-AA89-97CA3233C490}"/>
              </a:ext>
            </a:extLst>
          </p:cNvPr>
          <p:cNvSpPr txBox="1"/>
          <p:nvPr/>
        </p:nvSpPr>
        <p:spPr>
          <a:xfrm>
            <a:off x="1233177" y="3353399"/>
            <a:ext cx="7707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cessing data:</a:t>
            </a:r>
            <a:endParaRPr lang="en-AT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70D3671-E709-4F38-8644-BC5B293C986B}"/>
              </a:ext>
            </a:extLst>
          </p:cNvPr>
          <p:cNvSpPr txBox="1">
            <a:spLocks/>
          </p:cNvSpPr>
          <p:nvPr/>
        </p:nvSpPr>
        <p:spPr bwMode="gray">
          <a:xfrm>
            <a:off x="1308100" y="3677248"/>
            <a:ext cx="9288463" cy="7759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714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_input.endswith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‘.jpg’):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print(‘input path is a .jpg file’)</a:t>
            </a:r>
          </a:p>
        </p:txBody>
      </p:sp>
    </p:spTree>
    <p:extLst>
      <p:ext uri="{BB962C8B-B14F-4D97-AF65-F5344CB8AC3E}">
        <p14:creationId xmlns:p14="http://schemas.microsoft.com/office/powerpoint/2010/main" val="3073446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F96EF-951B-419E-8183-D9C308537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oking Flask web service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D7D774-32D9-40A0-804C-4F5D58A3C6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549400"/>
            <a:ext cx="10404474" cy="4175125"/>
          </a:xfrm>
        </p:spPr>
        <p:txBody>
          <a:bodyPr/>
          <a:lstStyle/>
          <a:p>
            <a:r>
              <a:rPr lang="en-US" dirty="0" err="1"/>
              <a:t>cURL</a:t>
            </a:r>
            <a:r>
              <a:rPr lang="en-US" dirty="0"/>
              <a:t>, (client URL):  command line tool to transfer data to and from a server. </a:t>
            </a:r>
          </a:p>
          <a:p>
            <a:endParaRPr lang="en-US" dirty="0"/>
          </a:p>
          <a:p>
            <a:r>
              <a:rPr lang="en-US" dirty="0" err="1"/>
              <a:t>cURL</a:t>
            </a:r>
            <a:r>
              <a:rPr lang="en-US" dirty="0"/>
              <a:t> lets you talk to a server by specifying the location (in the form of a URL) and the data you want to send</a:t>
            </a:r>
          </a:p>
          <a:p>
            <a:r>
              <a:rPr lang="en-US" dirty="0"/>
              <a:t>run inference on single image files from a path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url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http://localhost:5000/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-d “VAR1=./filename.jpg"</a:t>
            </a:r>
          </a:p>
          <a:p>
            <a:endParaRPr lang="en-US" dirty="0"/>
          </a:p>
          <a:p>
            <a:r>
              <a:rPr lang="en-US" dirty="0"/>
              <a:t>Multivariable input:</a:t>
            </a:r>
          </a:p>
          <a:p>
            <a:pPr lvl="1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url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http://localhost:5000/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-d “VAR1=./filename.jpg&amp;VAR2=1"</a:t>
            </a:r>
            <a:endParaRPr lang="en-AT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1CCC06-AD39-4443-918B-49870EA004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B35480-30EE-40FF-9C7A-4F1FB45A58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34118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5CF206-1324-4B3C-B7FC-B1CC5CB08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A16A07-3B3D-4DDB-9EC2-EE7F4E9E1B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/>
              <a:t>The goal of the assignment is to develop a data processing application using Docker, Python and </a:t>
            </a:r>
            <a:r>
              <a:rPr lang="en-US" dirty="0" err="1"/>
              <a:t>Tensorflow</a:t>
            </a:r>
            <a:r>
              <a:rPr lang="en-US" dirty="0"/>
              <a:t> and understanding the mechanisms behind computation and data offloading. </a:t>
            </a:r>
          </a:p>
          <a:p>
            <a:pPr algn="just"/>
            <a:endParaRPr lang="en-US" dirty="0"/>
          </a:p>
          <a:p>
            <a:pPr marL="457200" indent="-457200" algn="just">
              <a:buFont typeface="+mj-lt"/>
              <a:buAutoNum type="arabicPeriod"/>
            </a:pPr>
            <a:r>
              <a:rPr lang="en-US" dirty="0"/>
              <a:t>Implementation of data processing application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en-US" dirty="0" err="1"/>
              <a:t>Dockerization</a:t>
            </a:r>
            <a:r>
              <a:rPr lang="en-US" dirty="0"/>
              <a:t> of application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en-US" dirty="0"/>
              <a:t>Collect data on local and remote execution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en-US" dirty="0"/>
              <a:t>Report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D9DD20-6CB4-4D32-8D03-B3065213382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189E9-BF68-42A4-9B80-77D61AE09C9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548790-7138-480A-BC6E-CA83297992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970473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F827EB-73FD-4723-A6A5-F69B89D8A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ocessing loop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69CC-2F4F-4E30-9E1E-416AAD65BF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Send data to the deployed service using </a:t>
            </a:r>
            <a:r>
              <a:rPr lang="en-US" dirty="0" err="1"/>
              <a:t>cURL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Retrieve data from REST interface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rocess data insid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tection_loop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cs typeface="Courier New" panose="02070309020205020404" pitchFamily="49" charset="0"/>
              </a:rPr>
              <a:t>Retrieve results</a:t>
            </a:r>
          </a:p>
          <a:p>
            <a:pPr marL="457200" indent="-457200">
              <a:buFont typeface="+mj-lt"/>
              <a:buAutoNum type="arabicPeriod"/>
            </a:pPr>
            <a:endParaRPr lang="en-US" dirty="0">
              <a:cs typeface="Courier New" panose="020703090202050204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cs typeface="Courier New" panose="02070309020205020404" pitchFamily="49" charset="0"/>
              </a:rPr>
              <a:t>Collect data about execution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FEC68D-EB1E-424D-B520-646AFED9FCF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A35D9C-FED9-43D1-BAA9-DE7F744B3F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A9464E-AA72-4137-A760-7E4F5AEC19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89907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211A1-7C7E-4D65-A9E2-82538F39EE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 applications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46AD2-E960-475E-9BD6-FE825EFEA9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Object detection</a:t>
            </a:r>
            <a:r>
              <a:rPr lang="en-US" dirty="0"/>
              <a:t>: the application takes as input an image and returns the objects that has been detected on the image.</a:t>
            </a:r>
          </a:p>
          <a:p>
            <a:endParaRPr lang="en-US" dirty="0"/>
          </a:p>
          <a:p>
            <a:r>
              <a:rPr lang="en-US" b="1" dirty="0"/>
              <a:t>Speech recognition</a:t>
            </a:r>
            <a:r>
              <a:rPr lang="en-US" dirty="0"/>
              <a:t>: the application takes as input audio files and recognizes a set of keywords inside the audio files</a:t>
            </a:r>
            <a:endParaRPr lang="en-AT" dirty="0"/>
          </a:p>
          <a:p>
            <a:endParaRPr lang="en-US" dirty="0"/>
          </a:p>
          <a:p>
            <a:r>
              <a:rPr lang="en-US" dirty="0"/>
              <a:t>Object detection: </a:t>
            </a:r>
            <a:r>
              <a:rPr lang="en-US" u="sng" dirty="0">
                <a:hlinkClick r:id="rId2"/>
              </a:rPr>
              <a:t>https://www.tensorflow.org/hub/tutorials/object_detection</a:t>
            </a:r>
            <a:endParaRPr lang="en-AT" dirty="0"/>
          </a:p>
          <a:p>
            <a:r>
              <a:rPr lang="en-US" dirty="0"/>
              <a:t>Speech recognition: </a:t>
            </a:r>
            <a:r>
              <a:rPr lang="en-US" u="sng" dirty="0">
                <a:hlinkClick r:id="rId3"/>
              </a:rPr>
              <a:t>https://www.tensorflow.org/tutorials/audio/simple_audio</a:t>
            </a:r>
            <a:endParaRPr lang="en-AT" dirty="0"/>
          </a:p>
          <a:p>
            <a:endParaRPr lang="en-US" dirty="0"/>
          </a:p>
          <a:p>
            <a:r>
              <a:rPr lang="en-US" dirty="0"/>
              <a:t>Code should be commented in the main parts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5D80CD-6A28-4DD0-B9DC-78513C853A7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1E999-9DDC-447A-9062-5B8FC88EFE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18F09-11F9-48A8-AC2C-A3EA55083F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25195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570FB-80E4-47FC-8366-C37F0A122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kerization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9CC22D-6FE3-4D03-B05F-358812D602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ploy application inside a Docker container</a:t>
            </a:r>
          </a:p>
          <a:p>
            <a:pPr lvl="1"/>
            <a:r>
              <a:rPr lang="en-US" dirty="0"/>
              <a:t>File stub is provided to the students</a:t>
            </a:r>
          </a:p>
          <a:p>
            <a:pPr lvl="1"/>
            <a:endParaRPr lang="en-US" dirty="0"/>
          </a:p>
          <a:p>
            <a:r>
              <a:rPr lang="en-US" dirty="0"/>
              <a:t>Application should be accessible both locally and on Hadoop cluster using curl</a:t>
            </a:r>
          </a:p>
          <a:p>
            <a:pPr lvl="1"/>
            <a:r>
              <a:rPr lang="en-US" dirty="0"/>
              <a:t>Credentials will be provided</a:t>
            </a:r>
          </a:p>
          <a:p>
            <a:pPr lvl="1"/>
            <a:endParaRPr lang="en-US" dirty="0"/>
          </a:p>
          <a:p>
            <a:endParaRPr lang="en-US" dirty="0"/>
          </a:p>
          <a:p>
            <a:pPr lvl="1"/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7B3CBA-BF67-4BB7-A6FD-E70266F07B5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709AFF-A546-4E8E-A4A5-9402BDE697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080E8-8A63-470F-A4A6-171CEE9EDF2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947128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7D5AE-E1FB-477B-B0E7-32E34B6F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ime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47ADA0-6677-48DD-B30A-0D4CE4053B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will need to collect data about inference time (insid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etection_loop</a:t>
            </a:r>
            <a:r>
              <a:rPr lang="en-US" dirty="0"/>
              <a:t>) and data transfer time on remote node</a:t>
            </a:r>
          </a:p>
          <a:p>
            <a:endParaRPr lang="en-US" dirty="0"/>
          </a:p>
          <a:p>
            <a:r>
              <a:rPr lang="en-US" dirty="0" err="1"/>
              <a:t>Tensorflow</a:t>
            </a:r>
            <a:r>
              <a:rPr lang="en-US" dirty="0"/>
              <a:t> methods (see documentation)</a:t>
            </a:r>
          </a:p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time</a:t>
            </a:r>
            <a:r>
              <a:rPr lang="en-US" dirty="0"/>
              <a:t>,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timeit</a:t>
            </a:r>
            <a:r>
              <a:rPr lang="en-US" dirty="0">
                <a:cs typeface="Courier New" panose="02070309020205020404" pitchFamily="49" charset="0"/>
              </a:rPr>
              <a:t> python modules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cs typeface="Courier New" panose="02070309020205020404" pitchFamily="49" charset="0"/>
              </a:rPr>
              <a:t>Time </a:t>
            </a:r>
            <a:r>
              <a:rPr lang="en-US" dirty="0" err="1">
                <a:cs typeface="Courier New" panose="02070309020205020404" pitchFamily="49" charset="0"/>
              </a:rPr>
              <a:t>linux</a:t>
            </a:r>
            <a:r>
              <a:rPr lang="en-US" dirty="0">
                <a:cs typeface="Courier New" panose="02070309020205020404" pitchFamily="49" charset="0"/>
              </a:rPr>
              <a:t> </a:t>
            </a:r>
            <a:r>
              <a:rPr lang="en-US" dirty="0" err="1">
                <a:cs typeface="Courier New" panose="02070309020205020404" pitchFamily="49" charset="0"/>
              </a:rPr>
              <a:t>syscall</a:t>
            </a:r>
            <a:endParaRPr lang="en-US" dirty="0">
              <a:cs typeface="Courier New" panose="02070309020205020404" pitchFamily="49" charset="0"/>
            </a:endParaRPr>
          </a:p>
          <a:p>
            <a:endParaRPr lang="en-US" dirty="0">
              <a:cs typeface="Courier New" panose="02070309020205020404" pitchFamily="49" charset="0"/>
            </a:endParaRPr>
          </a:p>
          <a:p>
            <a:r>
              <a:rPr lang="en-US" dirty="0">
                <a:cs typeface="Courier New" panose="02070309020205020404" pitchFamily="49" charset="0"/>
              </a:rPr>
              <a:t>Anything, as long as it is documented in the report</a:t>
            </a:r>
            <a:endParaRPr lang="en-AT" dirty="0">
              <a:cs typeface="Courier New" panose="02070309020205020404" pitchFamily="49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F15700-15B4-4AA7-84A7-FB8AD6A8993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318985-A01C-47F9-A231-0CFBB41AB03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909E3-8AD0-44D1-B488-088120454F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02439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3717F-55C6-4DAB-821F-B950DE34F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report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52B45-D7F9-48D2-9622-ED847D2C53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4973" y="1032163"/>
            <a:ext cx="9288463" cy="4175125"/>
          </a:xfrm>
        </p:spPr>
        <p:txBody>
          <a:bodyPr/>
          <a:lstStyle/>
          <a:p>
            <a:r>
              <a:rPr lang="en-US" dirty="0"/>
              <a:t>Information on your implementation design choices: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Information on how application has been developed, explaining the most important design choices and any modification to the </a:t>
            </a:r>
            <a:r>
              <a:rPr lang="en-US" dirty="0" err="1"/>
              <a:t>Dockerfile</a:t>
            </a:r>
            <a:r>
              <a:rPr lang="en-US" dirty="0"/>
              <a:t> or requirements.txt needed to make your implementation work;</a:t>
            </a:r>
            <a:endParaRPr lang="en-AT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mmands needed to deploy your container;</a:t>
            </a:r>
            <a:endParaRPr lang="en-AT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Explanation on how you calculate inference and transfer time;</a:t>
            </a:r>
            <a:endParaRPr lang="en-AT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Information on your experimental setup. i.e., CPU power, network bandwidth and any additional hardware (GPU) that you use to run your experiments;</a:t>
            </a:r>
            <a:endParaRPr lang="en-AT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Data about local/remote inference time and transfer time;</a:t>
            </a:r>
            <a:endParaRPr lang="en-AT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mments on your execution: it is worth to offload execution on the remote cluster? If not, why? What would be needed to improve performance of remote and local execution? Can you think of a scenario where offloading improves performance?</a:t>
            </a:r>
            <a:endParaRPr lang="en-AT" dirty="0"/>
          </a:p>
          <a:p>
            <a:endParaRPr lang="en-US" dirty="0"/>
          </a:p>
          <a:p>
            <a:pPr lvl="1"/>
            <a:endParaRPr lang="en-US" dirty="0"/>
          </a:p>
          <a:p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39C4D8-47C1-41F8-B09C-BA4CB540DBF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DCEE9-DDA7-4373-9673-E7E78087F0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8</a:t>
            </a:fld>
            <a:endParaRPr lang="de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9B852-945D-4D66-8CBF-CC73640FC9C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38415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A091A-E6FA-4A08-9809-4AD20C194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FB726C-9639-41C9-BFDF-5E360896A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100" y="1297114"/>
            <a:ext cx="9288463" cy="1713941"/>
          </a:xfrm>
        </p:spPr>
        <p:txBody>
          <a:bodyPr/>
          <a:lstStyle/>
          <a:p>
            <a:r>
              <a:rPr lang="en-US" dirty="0"/>
              <a:t>Based on:</a:t>
            </a:r>
          </a:p>
          <a:p>
            <a:pPr lvl="1"/>
            <a:r>
              <a:rPr lang="en-US" sz="2200" dirty="0" err="1"/>
              <a:t>Dockerfile</a:t>
            </a:r>
            <a:r>
              <a:rPr lang="en-US" sz="2200" dirty="0"/>
              <a:t> and requirements.txt;</a:t>
            </a:r>
            <a:endParaRPr lang="en-AT" sz="2200" dirty="0"/>
          </a:p>
          <a:p>
            <a:pPr lvl="1"/>
            <a:r>
              <a:rPr lang="en-US" sz="2200" dirty="0"/>
              <a:t>Their app.py implementation including all additional files (if any) you implemented to make it work;</a:t>
            </a:r>
            <a:endParaRPr lang="en-AT" sz="2200" dirty="0"/>
          </a:p>
          <a:p>
            <a:pPr lvl="1"/>
            <a:r>
              <a:rPr lang="en-US" sz="2200" dirty="0"/>
              <a:t>Report, in .doc, .docx or .pdf format.</a:t>
            </a:r>
            <a:endParaRPr lang="en-AT" sz="2200" dirty="0"/>
          </a:p>
          <a:p>
            <a:pPr lvl="1"/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05E72E-46B4-42D5-9730-1AF991E024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E75B9-B03D-47E8-9143-E79206D890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19</a:t>
            </a:fld>
            <a:endParaRPr lang="de-AT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5905C07-DAF4-4630-90E5-097B00A40A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851760"/>
              </p:ext>
            </p:extLst>
          </p:nvPr>
        </p:nvGraphicFramePr>
        <p:xfrm>
          <a:off x="1570182" y="3429000"/>
          <a:ext cx="8128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65818">
                  <a:extLst>
                    <a:ext uri="{9D8B030D-6E8A-4147-A177-3AD203B41FA5}">
                      <a16:colId xmlns:a16="http://schemas.microsoft.com/office/drawing/2014/main" val="3536608121"/>
                    </a:ext>
                  </a:extLst>
                </a:gridCol>
                <a:gridCol w="1062182">
                  <a:extLst>
                    <a:ext uri="{9D8B030D-6E8A-4147-A177-3AD203B41FA5}">
                      <a16:colId xmlns:a16="http://schemas.microsoft.com/office/drawing/2014/main" val="27811854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ssignment part</a:t>
                      </a:r>
                      <a:endParaRPr lang="en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ating</a:t>
                      </a:r>
                      <a:endParaRPr lang="en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033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ation</a:t>
                      </a:r>
                      <a:endParaRPr lang="en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0</a:t>
                      </a:r>
                      <a:endParaRPr lang="en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2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kerization</a:t>
                      </a:r>
                      <a:endParaRPr lang="en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  <a:endParaRPr lang="en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6411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l/Remote Execution</a:t>
                      </a:r>
                      <a:endParaRPr lang="en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</a:t>
                      </a:r>
                      <a:endParaRPr lang="en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157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</a:t>
                      </a:r>
                      <a:endParaRPr lang="en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</a:t>
                      </a:r>
                      <a:endParaRPr lang="en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661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892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BB2D85E-BC39-4418-9AC0-AB544BBA6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Code Offloading?</a:t>
            </a:r>
            <a:endParaRPr lang="en-A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6">
                <a:extLst>
                  <a:ext uri="{FF2B5EF4-FFF2-40B4-BE49-F238E27FC236}">
                    <a16:creationId xmlns:a16="http://schemas.microsoft.com/office/drawing/2014/main" id="{9B543C05-A2EB-42F6-9632-2D8ED23304F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/>
                  <a:t>Unprecedented growth of data</a:t>
                </a:r>
              </a:p>
              <a:p>
                <a:pPr lvl="1"/>
                <a:r>
                  <a:rPr lang="en-US" dirty="0"/>
                  <a:t>“How Much Data Do We Create Every Day?” – Bernard Marr, Forbes, 21th May 2018</a:t>
                </a:r>
              </a:p>
              <a:p>
                <a:pPr lvl="2"/>
                <a:r>
                  <a:rPr lang="en-US" dirty="0"/>
                  <a:t>Smart devices (for example, fitness trackers, sensors, Amazon Echo) produce 5 quintillion bytes of data daily. In 5 years, we can expect the number of these gadgets to be more than 50 billion! </a:t>
                </a:r>
              </a:p>
              <a:p>
                <a:pPr lvl="2"/>
                <a:r>
                  <a:rPr lang="en-US" dirty="0"/>
                  <a:t>90 ZB (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</a:rPr>
                      <m:t>90</m:t>
                    </m:r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21</m:t>
                        </m:r>
                      </m:sup>
                    </m:sSup>
                  </m:oMath>
                </a14:m>
                <a:r>
                  <a:rPr lang="en-US" dirty="0"/>
                  <a:t> bytes) of this data will be from IoT devices in 2025</a:t>
                </a:r>
              </a:p>
              <a:p>
                <a:pPr lvl="2"/>
                <a:endParaRPr lang="en-US" dirty="0"/>
              </a:p>
              <a:p>
                <a:pPr lvl="1"/>
                <a:endParaRPr lang="en-US" dirty="0"/>
              </a:p>
              <a:p>
                <a:r>
                  <a:rPr lang="en-US" dirty="0"/>
                  <a:t>Latency and storage requirements</a:t>
                </a:r>
              </a:p>
              <a:p>
                <a:endParaRPr lang="en-AT" dirty="0"/>
              </a:p>
            </p:txBody>
          </p:sp>
        </mc:Choice>
        <mc:Fallback xmlns="">
          <p:sp>
            <p:nvSpPr>
              <p:cNvPr id="7" name="Content Placeholder 6">
                <a:extLst>
                  <a:ext uri="{FF2B5EF4-FFF2-40B4-BE49-F238E27FC236}">
                    <a16:creationId xmlns:a16="http://schemas.microsoft.com/office/drawing/2014/main" id="{9B543C05-A2EB-42F6-9632-2D8ED23304F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576" t="-2774"/>
                </a:stretch>
              </a:blipFill>
            </p:spPr>
            <p:txBody>
              <a:bodyPr/>
              <a:lstStyle/>
              <a:p>
                <a:r>
                  <a:rPr lang="en-A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A090CC-2AC4-4D31-B60F-55FEFEC14A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A8CD59-6BDD-4356-B485-F5A8F2967A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949373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F6BDEF2-BAED-427C-8A7D-0103F178A2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?</a:t>
            </a:r>
            <a:endParaRPr lang="en-AT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D9ED1FD-5B53-4E9C-AB8A-39B054EF1C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vincenzo@ec.tuwien.ac.at</a:t>
            </a:r>
            <a:endParaRPr lang="en-AT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69B7EE-065C-4988-9F7A-59DC065044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T"/>
          </a:p>
        </p:txBody>
      </p:sp>
    </p:spTree>
    <p:extLst>
      <p:ext uri="{BB962C8B-B14F-4D97-AF65-F5344CB8AC3E}">
        <p14:creationId xmlns:p14="http://schemas.microsoft.com/office/powerpoint/2010/main" val="1278661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314F971E-2D16-4E2B-8836-7292B1275FF5}"/>
              </a:ext>
            </a:extLst>
          </p:cNvPr>
          <p:cNvCxnSpPr/>
          <p:nvPr/>
        </p:nvCxnSpPr>
        <p:spPr>
          <a:xfrm flipV="1">
            <a:off x="3252655" y="2498997"/>
            <a:ext cx="2457927" cy="234193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1ED23A00-B7BC-4820-A8F7-E9A3CD3B2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Offloading</a:t>
            </a:r>
            <a:endParaRPr lang="en-AT" dirty="0"/>
          </a:p>
        </p:txBody>
      </p:sp>
      <p:pic>
        <p:nvPicPr>
          <p:cNvPr id="3" name="Graphic 2" descr="Document">
            <a:extLst>
              <a:ext uri="{FF2B5EF4-FFF2-40B4-BE49-F238E27FC236}">
                <a16:creationId xmlns:a16="http://schemas.microsoft.com/office/drawing/2014/main" id="{B447ADD6-C47C-47DD-846C-AAFA2CDDA6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3902" y="2149167"/>
            <a:ext cx="390236" cy="390236"/>
          </a:xfrm>
          <a:prstGeom prst="rect">
            <a:avLst/>
          </a:prstGeom>
        </p:spPr>
      </p:pic>
      <p:pic>
        <p:nvPicPr>
          <p:cNvPr id="5" name="Graphic 4" descr="Car">
            <a:extLst>
              <a:ext uri="{FF2B5EF4-FFF2-40B4-BE49-F238E27FC236}">
                <a16:creationId xmlns:a16="http://schemas.microsoft.com/office/drawing/2014/main" id="{3ABA71F3-64CC-466F-8EE2-4F75C13FDE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8173" y="4771154"/>
            <a:ext cx="914400" cy="914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E61A6C9-3806-4071-B33E-8D3AC38E36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902" y="1384861"/>
            <a:ext cx="390236" cy="3902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5637491-5B7E-423B-9D0E-D38857701C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373" y="1384861"/>
            <a:ext cx="390236" cy="390236"/>
          </a:xfrm>
          <a:prstGeom prst="rect">
            <a:avLst/>
          </a:prstGeom>
        </p:spPr>
      </p:pic>
      <p:pic>
        <p:nvPicPr>
          <p:cNvPr id="7" name="Graphic 6" descr="Security camera">
            <a:extLst>
              <a:ext uri="{FF2B5EF4-FFF2-40B4-BE49-F238E27FC236}">
                <a16:creationId xmlns:a16="http://schemas.microsoft.com/office/drawing/2014/main" id="{880FAC60-056E-46CF-9F99-70B559E771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36844" y="1360047"/>
            <a:ext cx="457200" cy="457200"/>
          </a:xfrm>
          <a:prstGeom prst="rect">
            <a:avLst/>
          </a:prstGeom>
        </p:spPr>
      </p:pic>
      <p:pic>
        <p:nvPicPr>
          <p:cNvPr id="11" name="Graphic 10" descr="Security camera">
            <a:extLst>
              <a:ext uri="{FF2B5EF4-FFF2-40B4-BE49-F238E27FC236}">
                <a16:creationId xmlns:a16="http://schemas.microsoft.com/office/drawing/2014/main" id="{2399D32A-2C00-4A47-8450-8EE833D658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78772" y="1382543"/>
            <a:ext cx="457200" cy="457200"/>
          </a:xfrm>
          <a:prstGeom prst="rect">
            <a:avLst/>
          </a:prstGeom>
        </p:spPr>
      </p:pic>
      <p:pic>
        <p:nvPicPr>
          <p:cNvPr id="14" name="Graphic 13" descr="Images">
            <a:extLst>
              <a:ext uri="{FF2B5EF4-FFF2-40B4-BE49-F238E27FC236}">
                <a16:creationId xmlns:a16="http://schemas.microsoft.com/office/drawing/2014/main" id="{FCF1A42E-03E0-47E7-9068-58EBA7D4D4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36843" y="2064884"/>
            <a:ext cx="434113" cy="434113"/>
          </a:xfrm>
          <a:prstGeom prst="rect">
            <a:avLst/>
          </a:prstGeom>
        </p:spPr>
      </p:pic>
      <p:pic>
        <p:nvPicPr>
          <p:cNvPr id="15" name="Graphic 14" descr="Images">
            <a:extLst>
              <a:ext uri="{FF2B5EF4-FFF2-40B4-BE49-F238E27FC236}">
                <a16:creationId xmlns:a16="http://schemas.microsoft.com/office/drawing/2014/main" id="{607BE19C-8F55-4B4C-9F47-3A0EC3C267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02571" y="1965597"/>
            <a:ext cx="609601" cy="609601"/>
          </a:xfrm>
          <a:prstGeom prst="rect">
            <a:avLst/>
          </a:prstGeom>
        </p:spPr>
      </p:pic>
      <p:pic>
        <p:nvPicPr>
          <p:cNvPr id="17" name="Graphic 16" descr="Statistics">
            <a:extLst>
              <a:ext uri="{FF2B5EF4-FFF2-40B4-BE49-F238E27FC236}">
                <a16:creationId xmlns:a16="http://schemas.microsoft.com/office/drawing/2014/main" id="{7C573207-14D7-400F-808C-803F5DAB395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12618" y="2064884"/>
            <a:ext cx="577273" cy="577273"/>
          </a:xfrm>
          <a:prstGeom prst="rect">
            <a:avLst/>
          </a:prstGeom>
        </p:spPr>
      </p:pic>
      <p:pic>
        <p:nvPicPr>
          <p:cNvPr id="19" name="Graphic 18" descr="Smart Phone">
            <a:extLst>
              <a:ext uri="{FF2B5EF4-FFF2-40B4-BE49-F238E27FC236}">
                <a16:creationId xmlns:a16="http://schemas.microsoft.com/office/drawing/2014/main" id="{256CEB4E-AF97-4938-9A72-172556170D2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20691" y="4973909"/>
            <a:ext cx="390238" cy="390238"/>
          </a:xfrm>
          <a:prstGeom prst="rect">
            <a:avLst/>
          </a:prstGeom>
        </p:spPr>
      </p:pic>
      <p:pic>
        <p:nvPicPr>
          <p:cNvPr id="21" name="Graphic 20" descr="Empty battery">
            <a:extLst>
              <a:ext uri="{FF2B5EF4-FFF2-40B4-BE49-F238E27FC236}">
                <a16:creationId xmlns:a16="http://schemas.microsoft.com/office/drawing/2014/main" id="{14BF150F-6EBD-4AF4-B9BE-8B403214744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16200000">
            <a:off x="1394229" y="5447151"/>
            <a:ext cx="390237" cy="390237"/>
          </a:xfrm>
          <a:prstGeom prst="rect">
            <a:avLst/>
          </a:prstGeom>
        </p:spPr>
      </p:pic>
      <p:pic>
        <p:nvPicPr>
          <p:cNvPr id="22" name="Graphic 21" descr="Empty battery">
            <a:extLst>
              <a:ext uri="{FF2B5EF4-FFF2-40B4-BE49-F238E27FC236}">
                <a16:creationId xmlns:a16="http://schemas.microsoft.com/office/drawing/2014/main" id="{22B851C1-E532-4725-8F11-D810F79DE85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16200000">
            <a:off x="2627953" y="5504941"/>
            <a:ext cx="268095" cy="268095"/>
          </a:xfrm>
          <a:prstGeom prst="rect">
            <a:avLst/>
          </a:prstGeom>
        </p:spPr>
      </p:pic>
      <p:pic>
        <p:nvPicPr>
          <p:cNvPr id="27" name="Graphic 26" descr="Processor">
            <a:extLst>
              <a:ext uri="{FF2B5EF4-FFF2-40B4-BE49-F238E27FC236}">
                <a16:creationId xmlns:a16="http://schemas.microsoft.com/office/drawing/2014/main" id="{D269176F-DE07-4A04-8641-C7DA3A95723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766231" y="5466254"/>
            <a:ext cx="390237" cy="390237"/>
          </a:xfrm>
          <a:prstGeom prst="rect">
            <a:avLst/>
          </a:prstGeom>
        </p:spPr>
      </p:pic>
      <p:pic>
        <p:nvPicPr>
          <p:cNvPr id="28" name="Graphic 27" descr="Processor">
            <a:extLst>
              <a:ext uri="{FF2B5EF4-FFF2-40B4-BE49-F238E27FC236}">
                <a16:creationId xmlns:a16="http://schemas.microsoft.com/office/drawing/2014/main" id="{21F7A876-E3E9-422A-9A9C-E1560171B4C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896049" y="5566010"/>
            <a:ext cx="268096" cy="268096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8227B3C-8099-473A-A462-39E737967CE3}"/>
              </a:ext>
            </a:extLst>
          </p:cNvPr>
          <p:cNvCxnSpPr>
            <a:stCxn id="3" idx="2"/>
          </p:cNvCxnSpPr>
          <p:nvPr/>
        </p:nvCxnSpPr>
        <p:spPr>
          <a:xfrm>
            <a:off x="1489020" y="2539403"/>
            <a:ext cx="195118" cy="757979"/>
          </a:xfrm>
          <a:prstGeom prst="straightConnector1">
            <a:avLst/>
          </a:prstGeom>
          <a:ln w="254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phic 32" descr="Target">
            <a:extLst>
              <a:ext uri="{FF2B5EF4-FFF2-40B4-BE49-F238E27FC236}">
                <a16:creationId xmlns:a16="http://schemas.microsoft.com/office/drawing/2014/main" id="{38E1A756-6C82-4D84-B8A8-16659BD5047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75674" y="3398929"/>
            <a:ext cx="577273" cy="577273"/>
          </a:xfrm>
          <a:prstGeom prst="rect">
            <a:avLst/>
          </a:prstGeom>
        </p:spPr>
      </p:pic>
      <p:pic>
        <p:nvPicPr>
          <p:cNvPr id="35" name="Graphic 34" descr="Map with pin">
            <a:extLst>
              <a:ext uri="{FF2B5EF4-FFF2-40B4-BE49-F238E27FC236}">
                <a16:creationId xmlns:a16="http://schemas.microsoft.com/office/drawing/2014/main" id="{79D2DFA2-1ACE-4C86-98F5-A9CFB2221C2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85853" y="3360853"/>
            <a:ext cx="653529" cy="653529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CDEE5E0-56BF-4AE8-A9B2-A9580CE07244}"/>
              </a:ext>
            </a:extLst>
          </p:cNvPr>
          <p:cNvCxnSpPr>
            <a:cxnSpLocks/>
            <a:stCxn id="14" idx="2"/>
          </p:cNvCxnSpPr>
          <p:nvPr/>
        </p:nvCxnSpPr>
        <p:spPr>
          <a:xfrm flipH="1">
            <a:off x="2155312" y="2498997"/>
            <a:ext cx="798588" cy="819157"/>
          </a:xfrm>
          <a:prstGeom prst="straightConnector1">
            <a:avLst/>
          </a:prstGeom>
          <a:ln w="254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8E7A304-D773-44A9-8F41-327782539E63}"/>
              </a:ext>
            </a:extLst>
          </p:cNvPr>
          <p:cNvCxnSpPr>
            <a:cxnSpLocks/>
            <a:stCxn id="15" idx="2"/>
          </p:cNvCxnSpPr>
          <p:nvPr/>
        </p:nvCxnSpPr>
        <p:spPr>
          <a:xfrm flipH="1">
            <a:off x="2903278" y="2575198"/>
            <a:ext cx="704094" cy="869830"/>
          </a:xfrm>
          <a:prstGeom prst="straightConnector1">
            <a:avLst/>
          </a:prstGeom>
          <a:ln w="254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5E08D95-B86C-4C8B-A782-18C1D648C933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2201255" y="2642157"/>
            <a:ext cx="580676" cy="727829"/>
          </a:xfrm>
          <a:prstGeom prst="straightConnector1">
            <a:avLst/>
          </a:prstGeom>
          <a:ln w="254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D1C40B7F-989F-47A0-A9D5-1DB78FF4A715}"/>
              </a:ext>
            </a:extLst>
          </p:cNvPr>
          <p:cNvSpPr txBox="1"/>
          <p:nvPr/>
        </p:nvSpPr>
        <p:spPr>
          <a:xfrm>
            <a:off x="-63964" y="3545853"/>
            <a:ext cx="1689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APPLICATIONS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9760762-EAFA-4F98-84FF-4950B5A9528D}"/>
              </a:ext>
            </a:extLst>
          </p:cNvPr>
          <p:cNvSpPr txBox="1"/>
          <p:nvPr/>
        </p:nvSpPr>
        <p:spPr>
          <a:xfrm>
            <a:off x="-182822" y="2180492"/>
            <a:ext cx="1689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HETEROGENEOUS</a:t>
            </a:r>
          </a:p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FE51273-878E-4D56-B7FB-79DEDF2CB586}"/>
              </a:ext>
            </a:extLst>
          </p:cNvPr>
          <p:cNvSpPr txBox="1"/>
          <p:nvPr/>
        </p:nvSpPr>
        <p:spPr>
          <a:xfrm>
            <a:off x="-200080" y="1436389"/>
            <a:ext cx="1689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SENSING</a:t>
            </a:r>
          </a:p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DEVICES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C23506C-9BEB-4BC2-A5AE-D93C7369CF1C}"/>
              </a:ext>
            </a:extLst>
          </p:cNvPr>
          <p:cNvSpPr txBox="1"/>
          <p:nvPr/>
        </p:nvSpPr>
        <p:spPr>
          <a:xfrm>
            <a:off x="148952" y="5043275"/>
            <a:ext cx="1689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USER </a:t>
            </a:r>
          </a:p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EQUIPMENT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7" name="Cloud 46">
            <a:extLst>
              <a:ext uri="{FF2B5EF4-FFF2-40B4-BE49-F238E27FC236}">
                <a16:creationId xmlns:a16="http://schemas.microsoft.com/office/drawing/2014/main" id="{89D07DA1-2725-4ADA-AE54-3A7CD3F80A1A}"/>
              </a:ext>
            </a:extLst>
          </p:cNvPr>
          <p:cNvSpPr/>
          <p:nvPr/>
        </p:nvSpPr>
        <p:spPr>
          <a:xfrm>
            <a:off x="5710582" y="1094435"/>
            <a:ext cx="4978345" cy="2109464"/>
          </a:xfrm>
          <a:prstGeom prst="cloud">
            <a:avLst/>
          </a:prstGeom>
          <a:solidFill>
            <a:schemeClr val="accent1">
              <a:alpha val="6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pic>
        <p:nvPicPr>
          <p:cNvPr id="48" name="Graphic 47" descr="Processor">
            <a:extLst>
              <a:ext uri="{FF2B5EF4-FFF2-40B4-BE49-F238E27FC236}">
                <a16:creationId xmlns:a16="http://schemas.microsoft.com/office/drawing/2014/main" id="{10BB72A9-F4D2-4B6D-B58F-4BD8AC2CFF2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468670" y="1611143"/>
            <a:ext cx="1081079" cy="1081079"/>
          </a:xfrm>
          <a:prstGeom prst="rect">
            <a:avLst/>
          </a:prstGeom>
        </p:spPr>
      </p:pic>
      <p:pic>
        <p:nvPicPr>
          <p:cNvPr id="51" name="Graphic 50" descr="Database">
            <a:extLst>
              <a:ext uri="{FF2B5EF4-FFF2-40B4-BE49-F238E27FC236}">
                <a16:creationId xmlns:a16="http://schemas.microsoft.com/office/drawing/2014/main" id="{E90CE6A5-8049-4A4A-8907-B0363441A90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132397" y="5515380"/>
            <a:ext cx="340347" cy="340347"/>
          </a:xfrm>
          <a:prstGeom prst="rect">
            <a:avLst/>
          </a:prstGeom>
        </p:spPr>
      </p:pic>
      <p:pic>
        <p:nvPicPr>
          <p:cNvPr id="52" name="Graphic 51" descr="Database">
            <a:extLst>
              <a:ext uri="{FF2B5EF4-FFF2-40B4-BE49-F238E27FC236}">
                <a16:creationId xmlns:a16="http://schemas.microsoft.com/office/drawing/2014/main" id="{B53A32BE-DC31-4F1B-BC78-A67983983EE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099266" y="5447151"/>
            <a:ext cx="440176" cy="440176"/>
          </a:xfrm>
          <a:prstGeom prst="rect">
            <a:avLst/>
          </a:prstGeom>
        </p:spPr>
      </p:pic>
      <p:pic>
        <p:nvPicPr>
          <p:cNvPr id="53" name="Graphic 52" descr="Database">
            <a:extLst>
              <a:ext uri="{FF2B5EF4-FFF2-40B4-BE49-F238E27FC236}">
                <a16:creationId xmlns:a16="http://schemas.microsoft.com/office/drawing/2014/main" id="{BEAABDF5-BF1F-49EA-AA01-DF4E5487FDD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682565" y="1751234"/>
            <a:ext cx="795866" cy="795866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4002DF3E-BDA4-4C5B-B93A-770CFE2D4DC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457" y="4314234"/>
            <a:ext cx="728446" cy="48419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A08361A-C897-4E4C-9290-D75861D999D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873" y="4314234"/>
            <a:ext cx="728446" cy="48419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36D5FD57-FEB3-410D-B71A-D9880730FCA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2624" y="4314234"/>
            <a:ext cx="728446" cy="48419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533C70B-F833-428E-8A0A-AA68A9291D2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375" y="4314234"/>
            <a:ext cx="728446" cy="484190"/>
          </a:xfrm>
          <a:prstGeom prst="rect">
            <a:avLst/>
          </a:prstGeom>
        </p:spPr>
      </p:pic>
      <p:pic>
        <p:nvPicPr>
          <p:cNvPr id="60" name="Graphic 59" descr="Processor">
            <a:extLst>
              <a:ext uri="{FF2B5EF4-FFF2-40B4-BE49-F238E27FC236}">
                <a16:creationId xmlns:a16="http://schemas.microsoft.com/office/drawing/2014/main" id="{D52B4698-6031-4BB8-8BC9-796C5E5A9C2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611247" y="1639952"/>
            <a:ext cx="1081079" cy="1081079"/>
          </a:xfrm>
          <a:prstGeom prst="rect">
            <a:avLst/>
          </a:prstGeom>
        </p:spPr>
      </p:pic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47417207-0E59-4474-A5DE-C97CF6163C65}"/>
              </a:ext>
            </a:extLst>
          </p:cNvPr>
          <p:cNvCxnSpPr>
            <a:cxnSpLocks/>
          </p:cNvCxnSpPr>
          <p:nvPr/>
        </p:nvCxnSpPr>
        <p:spPr>
          <a:xfrm>
            <a:off x="2495320" y="4113106"/>
            <a:ext cx="0" cy="72782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7BBD35DB-EAF5-4B2D-BEDD-66DE829A1D52}"/>
              </a:ext>
            </a:extLst>
          </p:cNvPr>
          <p:cNvSpPr txBox="1"/>
          <p:nvPr/>
        </p:nvSpPr>
        <p:spPr>
          <a:xfrm>
            <a:off x="10214280" y="4299784"/>
            <a:ext cx="1689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EDGE DEVICES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F5EF78A-1631-421A-A35F-98CFC522CB1D}"/>
              </a:ext>
            </a:extLst>
          </p:cNvPr>
          <p:cNvSpPr txBox="1"/>
          <p:nvPr/>
        </p:nvSpPr>
        <p:spPr>
          <a:xfrm>
            <a:off x="1170823" y="4222377"/>
            <a:ext cx="1689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LOCAL </a:t>
            </a:r>
          </a:p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EXECUTION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7" name="Graphic 66" descr="Exclamation mark">
            <a:extLst>
              <a:ext uri="{FF2B5EF4-FFF2-40B4-BE49-F238E27FC236}">
                <a16:creationId xmlns:a16="http://schemas.microsoft.com/office/drawing/2014/main" id="{F2DDBCA1-B4B5-4229-B59F-8AEF5440A0E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269095" y="4304948"/>
            <a:ext cx="914400" cy="914400"/>
          </a:xfrm>
          <a:prstGeom prst="rect">
            <a:avLst/>
          </a:prstGeom>
        </p:spPr>
      </p:pic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5E96C90D-60E0-4C8E-841F-DF81C0EC7E51}"/>
              </a:ext>
            </a:extLst>
          </p:cNvPr>
          <p:cNvSpPr/>
          <p:nvPr/>
        </p:nvSpPr>
        <p:spPr>
          <a:xfrm>
            <a:off x="1293902" y="5421611"/>
            <a:ext cx="2243625" cy="46166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2DC4B3A-D764-4B4F-8837-DCE2D991D5C9}"/>
              </a:ext>
            </a:extLst>
          </p:cNvPr>
          <p:cNvSpPr txBox="1"/>
          <p:nvPr/>
        </p:nvSpPr>
        <p:spPr>
          <a:xfrm>
            <a:off x="1394229" y="5883276"/>
            <a:ext cx="2078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mited resources</a:t>
            </a:r>
            <a:endParaRPr lang="en-AT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65D4337-1A0A-46A8-839B-08E5F29815AC}"/>
              </a:ext>
            </a:extLst>
          </p:cNvPr>
          <p:cNvSpPr txBox="1"/>
          <p:nvPr/>
        </p:nvSpPr>
        <p:spPr>
          <a:xfrm>
            <a:off x="3051637" y="3881153"/>
            <a:ext cx="3377628" cy="9233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DE OFFLOADING:</a:t>
            </a:r>
          </a:p>
          <a:p>
            <a:r>
              <a:rPr lang="en-US" dirty="0"/>
              <a:t>Execute (part of) an application on remote surrogate devices</a:t>
            </a:r>
            <a:endParaRPr lang="en-AT" dirty="0"/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F4341D0-F662-483E-BE57-247509F78546}"/>
              </a:ext>
            </a:extLst>
          </p:cNvPr>
          <p:cNvCxnSpPr>
            <a:cxnSpLocks/>
          </p:cNvCxnSpPr>
          <p:nvPr/>
        </p:nvCxnSpPr>
        <p:spPr>
          <a:xfrm flipV="1">
            <a:off x="3405055" y="4603097"/>
            <a:ext cx="2548557" cy="39023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EAD5AD4B-7EE9-42FB-8B05-2867BA2AA2C2}"/>
              </a:ext>
            </a:extLst>
          </p:cNvPr>
          <p:cNvSpPr txBox="1"/>
          <p:nvPr/>
        </p:nvSpPr>
        <p:spPr>
          <a:xfrm>
            <a:off x="10413691" y="1782037"/>
            <a:ext cx="1689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CLOUD NODES</a:t>
            </a:r>
            <a:endParaRPr lang="en-AT" sz="12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76" name="Graphic 75" descr="Processor">
            <a:extLst>
              <a:ext uri="{FF2B5EF4-FFF2-40B4-BE49-F238E27FC236}">
                <a16:creationId xmlns:a16="http://schemas.microsoft.com/office/drawing/2014/main" id="{305D297F-C0D9-4BDE-9364-225807B8980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322766" y="4790633"/>
            <a:ext cx="390237" cy="390237"/>
          </a:xfrm>
          <a:prstGeom prst="rect">
            <a:avLst/>
          </a:prstGeom>
        </p:spPr>
      </p:pic>
      <p:pic>
        <p:nvPicPr>
          <p:cNvPr id="77" name="Graphic 76" descr="Processor">
            <a:extLst>
              <a:ext uri="{FF2B5EF4-FFF2-40B4-BE49-F238E27FC236}">
                <a16:creationId xmlns:a16="http://schemas.microsoft.com/office/drawing/2014/main" id="{2132915F-BCAB-4D21-8E32-0A1B2D16225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52584" y="4890389"/>
            <a:ext cx="268096" cy="268096"/>
          </a:xfrm>
          <a:prstGeom prst="rect">
            <a:avLst/>
          </a:prstGeom>
        </p:spPr>
      </p:pic>
      <p:pic>
        <p:nvPicPr>
          <p:cNvPr id="78" name="Graphic 77" descr="Database">
            <a:extLst>
              <a:ext uri="{FF2B5EF4-FFF2-40B4-BE49-F238E27FC236}">
                <a16:creationId xmlns:a16="http://schemas.microsoft.com/office/drawing/2014/main" id="{A100E5B9-77F9-44A2-A2B3-52227EB1476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688932" y="4839759"/>
            <a:ext cx="340347" cy="340347"/>
          </a:xfrm>
          <a:prstGeom prst="rect">
            <a:avLst/>
          </a:prstGeom>
        </p:spPr>
      </p:pic>
      <p:pic>
        <p:nvPicPr>
          <p:cNvPr id="79" name="Graphic 78" descr="Database">
            <a:extLst>
              <a:ext uri="{FF2B5EF4-FFF2-40B4-BE49-F238E27FC236}">
                <a16:creationId xmlns:a16="http://schemas.microsoft.com/office/drawing/2014/main" id="{E6CE6D09-B369-41E4-A945-1C3CF674274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655801" y="4771530"/>
            <a:ext cx="440176" cy="440176"/>
          </a:xfrm>
          <a:prstGeom prst="rect">
            <a:avLst/>
          </a:prstGeom>
        </p:spPr>
      </p:pic>
      <p:pic>
        <p:nvPicPr>
          <p:cNvPr id="80" name="Graphic 79" descr="Processor">
            <a:extLst>
              <a:ext uri="{FF2B5EF4-FFF2-40B4-BE49-F238E27FC236}">
                <a16:creationId xmlns:a16="http://schemas.microsoft.com/office/drawing/2014/main" id="{E50165B7-DBB2-4BCA-A760-9EC087D57DA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507767" y="4841263"/>
            <a:ext cx="390237" cy="390237"/>
          </a:xfrm>
          <a:prstGeom prst="rect">
            <a:avLst/>
          </a:prstGeom>
        </p:spPr>
      </p:pic>
      <p:pic>
        <p:nvPicPr>
          <p:cNvPr id="81" name="Graphic 80" descr="Processor">
            <a:extLst>
              <a:ext uri="{FF2B5EF4-FFF2-40B4-BE49-F238E27FC236}">
                <a16:creationId xmlns:a16="http://schemas.microsoft.com/office/drawing/2014/main" id="{98325681-056E-4B8F-8F0D-125BBF1ADC0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637585" y="4941019"/>
            <a:ext cx="268096" cy="268096"/>
          </a:xfrm>
          <a:prstGeom prst="rect">
            <a:avLst/>
          </a:prstGeom>
        </p:spPr>
      </p:pic>
      <p:pic>
        <p:nvPicPr>
          <p:cNvPr id="82" name="Graphic 81" descr="Database">
            <a:extLst>
              <a:ext uri="{FF2B5EF4-FFF2-40B4-BE49-F238E27FC236}">
                <a16:creationId xmlns:a16="http://schemas.microsoft.com/office/drawing/2014/main" id="{0B6B0893-4E86-4EBB-AAFE-40FF40BEE14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873933" y="4890389"/>
            <a:ext cx="340347" cy="340347"/>
          </a:xfrm>
          <a:prstGeom prst="rect">
            <a:avLst/>
          </a:prstGeom>
        </p:spPr>
      </p:pic>
      <p:pic>
        <p:nvPicPr>
          <p:cNvPr id="83" name="Graphic 82" descr="Database">
            <a:extLst>
              <a:ext uri="{FF2B5EF4-FFF2-40B4-BE49-F238E27FC236}">
                <a16:creationId xmlns:a16="http://schemas.microsoft.com/office/drawing/2014/main" id="{2C10F0F3-E69E-403F-8B5F-BB315037284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840802" y="4822160"/>
            <a:ext cx="440176" cy="440176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AFE36467-D3BC-4740-8749-E4B0E7F8BB81}"/>
              </a:ext>
            </a:extLst>
          </p:cNvPr>
          <p:cNvSpPr txBox="1"/>
          <p:nvPr/>
        </p:nvSpPr>
        <p:spPr>
          <a:xfrm>
            <a:off x="6463596" y="2657456"/>
            <a:ext cx="2996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floading to Cloud Nodes</a:t>
            </a:r>
            <a:endParaRPr lang="en-AT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409EEDF-9A99-4502-B6F1-243AF576E4D1}"/>
              </a:ext>
            </a:extLst>
          </p:cNvPr>
          <p:cNvSpPr txBox="1"/>
          <p:nvPr/>
        </p:nvSpPr>
        <p:spPr>
          <a:xfrm>
            <a:off x="6296457" y="3026247"/>
            <a:ext cx="5364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esource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er latency</a:t>
            </a:r>
            <a:endParaRPr lang="en-AT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C5D7724-77B9-404E-B887-7DDD39140369}"/>
              </a:ext>
            </a:extLst>
          </p:cNvPr>
          <p:cNvSpPr txBox="1"/>
          <p:nvPr/>
        </p:nvSpPr>
        <p:spPr>
          <a:xfrm>
            <a:off x="6655801" y="5254545"/>
            <a:ext cx="4822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ffloading to Edge Nodes</a:t>
            </a:r>
            <a:endParaRPr lang="en-AT" dirty="0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7D1D463-E369-475F-96E8-AE4EE33060B2}"/>
              </a:ext>
            </a:extLst>
          </p:cNvPr>
          <p:cNvSpPr txBox="1"/>
          <p:nvPr/>
        </p:nvSpPr>
        <p:spPr>
          <a:xfrm>
            <a:off x="6469343" y="5536914"/>
            <a:ext cx="5364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er Lat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er Availability</a:t>
            </a:r>
            <a:endParaRPr lang="en-AT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D03A2-234B-4526-B6A8-72AB5CA83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6BD04-C66D-467E-AE4D-720B4BB569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45081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64" grpId="0"/>
      <p:bldP spid="68" grpId="0" animBg="1"/>
      <p:bldP spid="69" grpId="0"/>
      <p:bldP spid="70" grpId="0" animBg="1"/>
      <p:bldP spid="75" grpId="0"/>
      <p:bldP spid="84" grpId="0"/>
      <p:bldP spid="85" grpId="0"/>
      <p:bldP spid="86" grpId="0"/>
      <p:bldP spid="8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2F5B8-772B-40DB-AE7B-96DD0F69F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oading challenges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9619C-E019-46C3-8C53-E31240BCC8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dentification of application parts to offload</a:t>
            </a:r>
          </a:p>
          <a:p>
            <a:pPr lvl="1"/>
            <a:r>
              <a:rPr lang="en-US" dirty="0"/>
              <a:t>CPU-intensive, DATA-intensive…</a:t>
            </a:r>
          </a:p>
          <a:p>
            <a:endParaRPr lang="en-US" dirty="0"/>
          </a:p>
          <a:p>
            <a:r>
              <a:rPr lang="en-US" dirty="0"/>
              <a:t>Allowing execution on heterogeneous remote nodes</a:t>
            </a:r>
          </a:p>
          <a:p>
            <a:endParaRPr lang="en-US" dirty="0"/>
          </a:p>
          <a:p>
            <a:r>
              <a:rPr lang="en-US" dirty="0"/>
              <a:t>Interoperation between local and remote code</a:t>
            </a:r>
            <a:endParaRPr lang="en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383783-0E5A-4FC7-9C73-16BAB4504A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FE4F2B8-8789-43A2-98A1-3F300812AEA4}"/>
              </a:ext>
            </a:extLst>
          </p:cNvPr>
          <p:cNvSpPr/>
          <p:nvPr/>
        </p:nvSpPr>
        <p:spPr>
          <a:xfrm>
            <a:off x="1062182" y="2530764"/>
            <a:ext cx="9534381" cy="13208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F98D233-EE09-4988-91A2-BD65ECDDFB2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92025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0A7139-D885-46CD-95E1-A24BBD419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s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94EBF-ABFA-4B27-AFBE-B409242675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container is a standard unit of software that packages up code and all its dependencies so the application runs quickly and reliably from one computing environment to another</a:t>
            </a:r>
          </a:p>
          <a:p>
            <a:endParaRPr lang="en-US" dirty="0"/>
          </a:p>
          <a:p>
            <a:r>
              <a:rPr lang="en-US" dirty="0"/>
              <a:t>Container images: executable package of software that includes everything needed to run an application: code, runtime, system tools, system libraries and settings.</a:t>
            </a:r>
          </a:p>
          <a:p>
            <a:endParaRPr lang="en-US" dirty="0"/>
          </a:p>
          <a:p>
            <a:r>
              <a:rPr lang="en-US" dirty="0"/>
              <a:t>Docker: leading container technology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C65A9-C503-40AA-97A2-280B64C42A6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dirty="0"/>
              <a:t>Data Intensive Computing - </a:t>
            </a:r>
            <a:r>
              <a:rPr lang="de-AT" dirty="0" err="1"/>
              <a:t>Assignment</a:t>
            </a:r>
            <a:r>
              <a:rPr lang="de-AT" dirty="0"/>
              <a:t> 3 | Summer Semester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8B7911-0C6D-4BBE-A7C0-720CBA561F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250645-C9E6-4133-8BEF-EDF721025C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8912" y="3729037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9118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C8390-56AA-4BAA-AAA4-2CBB1BA92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 vs Virtual Machines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7BC154-99C3-4BCD-AFE9-44110A7372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6A3BE4-142A-4BEF-B613-A3398D0567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F976BB-8314-4415-A4E7-DB28830AD7D5}"/>
              </a:ext>
            </a:extLst>
          </p:cNvPr>
          <p:cNvSpPr/>
          <p:nvPr/>
        </p:nvSpPr>
        <p:spPr>
          <a:xfrm>
            <a:off x="6714837" y="4488873"/>
            <a:ext cx="3777672" cy="67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dware infrastructure</a:t>
            </a:r>
            <a:endParaRPr lang="en-AT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F2322B-4581-488E-A822-6E81716D8F12}"/>
              </a:ext>
            </a:extLst>
          </p:cNvPr>
          <p:cNvSpPr/>
          <p:nvPr/>
        </p:nvSpPr>
        <p:spPr>
          <a:xfrm>
            <a:off x="1699491" y="4488872"/>
            <a:ext cx="3777672" cy="67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dware infrastructure</a:t>
            </a:r>
            <a:endParaRPr lang="en-AT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1C01B0-6105-46AE-830C-5ADAC85F0B17}"/>
              </a:ext>
            </a:extLst>
          </p:cNvPr>
          <p:cNvSpPr/>
          <p:nvPr/>
        </p:nvSpPr>
        <p:spPr>
          <a:xfrm>
            <a:off x="1699491" y="3726872"/>
            <a:ext cx="3777672" cy="67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ypervisor</a:t>
            </a:r>
            <a:endParaRPr lang="en-AT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AC05C5-3AD0-492D-BACB-4448D7E049B3}"/>
              </a:ext>
            </a:extLst>
          </p:cNvPr>
          <p:cNvSpPr/>
          <p:nvPr/>
        </p:nvSpPr>
        <p:spPr>
          <a:xfrm>
            <a:off x="6714837" y="3726872"/>
            <a:ext cx="3777672" cy="67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st OS</a:t>
            </a:r>
            <a:endParaRPr lang="en-AT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2A6C67-7897-46D1-A32F-8DD106161DFF}"/>
              </a:ext>
            </a:extLst>
          </p:cNvPr>
          <p:cNvSpPr/>
          <p:nvPr/>
        </p:nvSpPr>
        <p:spPr>
          <a:xfrm>
            <a:off x="1699491" y="1297113"/>
            <a:ext cx="1087698" cy="2342014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B91036-AFCF-460E-8B73-B00ECE24FEFF}"/>
              </a:ext>
            </a:extLst>
          </p:cNvPr>
          <p:cNvSpPr/>
          <p:nvPr/>
        </p:nvSpPr>
        <p:spPr>
          <a:xfrm>
            <a:off x="3043383" y="1293671"/>
            <a:ext cx="1089889" cy="2342014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F67B0A-4F6D-466B-9258-B49C2DB0FCE5}"/>
              </a:ext>
            </a:extLst>
          </p:cNvPr>
          <p:cNvSpPr/>
          <p:nvPr/>
        </p:nvSpPr>
        <p:spPr>
          <a:xfrm>
            <a:off x="4387275" y="1293671"/>
            <a:ext cx="1089889" cy="2342014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C9BC01-9FE9-45C4-BD7A-FB53C9D36602}"/>
              </a:ext>
            </a:extLst>
          </p:cNvPr>
          <p:cNvSpPr/>
          <p:nvPr/>
        </p:nvSpPr>
        <p:spPr>
          <a:xfrm>
            <a:off x="1699491" y="2835564"/>
            <a:ext cx="1087698" cy="8001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uest</a:t>
            </a:r>
          </a:p>
          <a:p>
            <a:pPr algn="ctr"/>
            <a:r>
              <a:rPr lang="en-US" dirty="0"/>
              <a:t>OS</a:t>
            </a:r>
            <a:endParaRPr lang="en-AT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0C1BBC-0B40-491B-B916-9CC44D3EC0DD}"/>
              </a:ext>
            </a:extLst>
          </p:cNvPr>
          <p:cNvSpPr/>
          <p:nvPr/>
        </p:nvSpPr>
        <p:spPr>
          <a:xfrm>
            <a:off x="3043383" y="2835563"/>
            <a:ext cx="1089889" cy="8001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uest</a:t>
            </a:r>
          </a:p>
          <a:p>
            <a:pPr algn="ctr"/>
            <a:r>
              <a:rPr lang="en-US" dirty="0"/>
              <a:t>OS</a:t>
            </a:r>
            <a:endParaRPr lang="en-AT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19BED7-C665-48AD-A072-39B851F7AAF1}"/>
              </a:ext>
            </a:extLst>
          </p:cNvPr>
          <p:cNvSpPr/>
          <p:nvPr/>
        </p:nvSpPr>
        <p:spPr>
          <a:xfrm>
            <a:off x="4389465" y="2835562"/>
            <a:ext cx="1087698" cy="8001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uest</a:t>
            </a:r>
          </a:p>
          <a:p>
            <a:pPr algn="ctr"/>
            <a:r>
              <a:rPr lang="en-US" dirty="0"/>
              <a:t>OS</a:t>
            </a:r>
            <a:endParaRPr lang="en-AT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6C7A84-A0C7-4B63-9418-205DDEA31CBF}"/>
              </a:ext>
            </a:extLst>
          </p:cNvPr>
          <p:cNvSpPr/>
          <p:nvPr/>
        </p:nvSpPr>
        <p:spPr>
          <a:xfrm>
            <a:off x="1699490" y="1293671"/>
            <a:ext cx="526473" cy="15228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0</a:t>
            </a:r>
            <a:endParaRPr lang="en-AT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37010E-8F98-4439-A61B-DAE92139A1DD}"/>
              </a:ext>
            </a:extLst>
          </p:cNvPr>
          <p:cNvSpPr/>
          <p:nvPr/>
        </p:nvSpPr>
        <p:spPr>
          <a:xfrm>
            <a:off x="2260716" y="1300556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1</a:t>
            </a:r>
            <a:endParaRPr lang="en-AT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837A3D-7654-442B-8905-ED7BD1308EC9}"/>
              </a:ext>
            </a:extLst>
          </p:cNvPr>
          <p:cNvSpPr/>
          <p:nvPr/>
        </p:nvSpPr>
        <p:spPr>
          <a:xfrm>
            <a:off x="3323995" y="1312687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2</a:t>
            </a:r>
            <a:endParaRPr lang="en-AT" sz="12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E0526E-FE32-4476-9EB0-9CAFDF347589}"/>
              </a:ext>
            </a:extLst>
          </p:cNvPr>
          <p:cNvSpPr/>
          <p:nvPr/>
        </p:nvSpPr>
        <p:spPr>
          <a:xfrm>
            <a:off x="4387275" y="1293671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3</a:t>
            </a:r>
            <a:endParaRPr lang="en-AT" sz="12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CDCC8BF-529F-4765-93D5-750D18055B01}"/>
              </a:ext>
            </a:extLst>
          </p:cNvPr>
          <p:cNvSpPr/>
          <p:nvPr/>
        </p:nvSpPr>
        <p:spPr>
          <a:xfrm>
            <a:off x="4950690" y="1300556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4</a:t>
            </a:r>
            <a:endParaRPr lang="en-AT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D6259E-B747-48E4-BF1D-5C4F07947FEB}"/>
              </a:ext>
            </a:extLst>
          </p:cNvPr>
          <p:cNvSpPr/>
          <p:nvPr/>
        </p:nvSpPr>
        <p:spPr>
          <a:xfrm>
            <a:off x="6714837" y="2961428"/>
            <a:ext cx="3777672" cy="674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ocker</a:t>
            </a:r>
            <a:endParaRPr lang="en-AT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A385F4-58DC-4DF1-9857-2ACEDF941AED}"/>
              </a:ext>
            </a:extLst>
          </p:cNvPr>
          <p:cNvSpPr/>
          <p:nvPr/>
        </p:nvSpPr>
        <p:spPr>
          <a:xfrm>
            <a:off x="6714836" y="1321377"/>
            <a:ext cx="526473" cy="15228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0</a:t>
            </a:r>
            <a:endParaRPr lang="en-AT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A10688B-0A3F-4B5A-8579-82907D710B38}"/>
              </a:ext>
            </a:extLst>
          </p:cNvPr>
          <p:cNvSpPr/>
          <p:nvPr/>
        </p:nvSpPr>
        <p:spPr>
          <a:xfrm>
            <a:off x="7276062" y="1328262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1</a:t>
            </a:r>
            <a:endParaRPr lang="en-AT" sz="12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05B12CD-73E4-4F78-9823-87BE702CEE59}"/>
              </a:ext>
            </a:extLst>
          </p:cNvPr>
          <p:cNvSpPr/>
          <p:nvPr/>
        </p:nvSpPr>
        <p:spPr>
          <a:xfrm>
            <a:off x="7896005" y="1331157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2</a:t>
            </a:r>
            <a:endParaRPr lang="en-AT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1491701-8D6B-43C4-99FD-E22E2C6A81E1}"/>
              </a:ext>
            </a:extLst>
          </p:cNvPr>
          <p:cNvSpPr/>
          <p:nvPr/>
        </p:nvSpPr>
        <p:spPr>
          <a:xfrm>
            <a:off x="8488218" y="1330613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3</a:t>
            </a:r>
            <a:endParaRPr lang="en-AT" sz="12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A9C512-C9C2-4318-9965-7F9F3CFED383}"/>
              </a:ext>
            </a:extLst>
          </p:cNvPr>
          <p:cNvSpPr/>
          <p:nvPr/>
        </p:nvSpPr>
        <p:spPr>
          <a:xfrm>
            <a:off x="9070105" y="1337498"/>
            <a:ext cx="526473" cy="1507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PP 4</a:t>
            </a:r>
            <a:endParaRPr lang="en-AT" sz="1200" dirty="0"/>
          </a:p>
        </p:txBody>
      </p:sp>
    </p:spTree>
    <p:extLst>
      <p:ext uri="{BB962C8B-B14F-4D97-AF65-F5344CB8AC3E}">
        <p14:creationId xmlns:p14="http://schemas.microsoft.com/office/powerpoint/2010/main" val="1041453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33E9E-AA99-4737-A136-5580F0712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asic Docker container</a:t>
            </a:r>
            <a:endParaRPr lang="en-A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2B6039-BEA2-4E83-961D-E4E5CD3252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A94F3F-48AD-4990-A5AA-A46070B0E7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8F4FEE-0AAE-4A15-AE47-9CD7A21DDEDD}"/>
              </a:ext>
            </a:extLst>
          </p:cNvPr>
          <p:cNvSpPr txBox="1"/>
          <p:nvPr/>
        </p:nvSpPr>
        <p:spPr>
          <a:xfrm>
            <a:off x="840509" y="1505527"/>
            <a:ext cx="64100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FROM python:3.7.9-slim-buster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UN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erad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/bin/bash usernam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OPY . /app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WORKDIR /app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UN ls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NTRYPOINT [ "python3" ]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MD [ "app.py" ]</a:t>
            </a:r>
            <a:endParaRPr lang="en-AT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B5A330-0152-4A2B-8095-4BC66184BC76}"/>
              </a:ext>
            </a:extLst>
          </p:cNvPr>
          <p:cNvSpPr/>
          <p:nvPr/>
        </p:nvSpPr>
        <p:spPr>
          <a:xfrm>
            <a:off x="1570182" y="1570183"/>
            <a:ext cx="3389745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300F44-8D6A-460D-99EA-147AA792B0F8}"/>
              </a:ext>
            </a:extLst>
          </p:cNvPr>
          <p:cNvSpPr/>
          <p:nvPr/>
        </p:nvSpPr>
        <p:spPr>
          <a:xfrm>
            <a:off x="937491" y="2055688"/>
            <a:ext cx="4668982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D69238-9DF3-4F6F-9EAB-CEF615F5E78C}"/>
              </a:ext>
            </a:extLst>
          </p:cNvPr>
          <p:cNvSpPr/>
          <p:nvPr/>
        </p:nvSpPr>
        <p:spPr>
          <a:xfrm>
            <a:off x="915697" y="2926102"/>
            <a:ext cx="1809028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627ED0-6B46-4DB3-BDD4-D0DA1BAA956F}"/>
              </a:ext>
            </a:extLst>
          </p:cNvPr>
          <p:cNvSpPr/>
          <p:nvPr/>
        </p:nvSpPr>
        <p:spPr>
          <a:xfrm>
            <a:off x="937491" y="3714924"/>
            <a:ext cx="3302000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CA3FC4-58E8-4D08-8F38-5AD39F5CB5AE}"/>
              </a:ext>
            </a:extLst>
          </p:cNvPr>
          <p:cNvSpPr/>
          <p:nvPr/>
        </p:nvSpPr>
        <p:spPr>
          <a:xfrm>
            <a:off x="937491" y="4017012"/>
            <a:ext cx="2267527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E93EA7-5454-442C-86F6-BE1699DB0F62}"/>
              </a:ext>
            </a:extLst>
          </p:cNvPr>
          <p:cNvSpPr txBox="1"/>
          <p:nvPr/>
        </p:nvSpPr>
        <p:spPr>
          <a:xfrm>
            <a:off x="5338617" y="1505527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 container image</a:t>
            </a:r>
            <a:endParaRPr lang="en-AT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830615-B88C-4689-84EB-2F9813F83AB5}"/>
              </a:ext>
            </a:extLst>
          </p:cNvPr>
          <p:cNvSpPr/>
          <p:nvPr/>
        </p:nvSpPr>
        <p:spPr>
          <a:xfrm>
            <a:off x="937491" y="2379042"/>
            <a:ext cx="1809028" cy="2770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9E8A17-66F2-4BB9-987E-727077498E9E}"/>
              </a:ext>
            </a:extLst>
          </p:cNvPr>
          <p:cNvSpPr txBox="1"/>
          <p:nvPr/>
        </p:nvSpPr>
        <p:spPr>
          <a:xfrm>
            <a:off x="5703455" y="2009567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user username</a:t>
            </a:r>
            <a:endParaRPr lang="en-AT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64D90E-189B-4538-8525-0BE999089206}"/>
              </a:ext>
            </a:extLst>
          </p:cNvPr>
          <p:cNvSpPr txBox="1"/>
          <p:nvPr/>
        </p:nvSpPr>
        <p:spPr>
          <a:xfrm>
            <a:off x="2843501" y="2336633"/>
            <a:ext cx="49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py local directory to /app container directory </a:t>
            </a:r>
            <a:endParaRPr lang="en-AT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F5C3AF-28B1-4CA3-B093-F1EDBB87D241}"/>
              </a:ext>
            </a:extLst>
          </p:cNvPr>
          <p:cNvSpPr txBox="1"/>
          <p:nvPr/>
        </p:nvSpPr>
        <p:spPr>
          <a:xfrm>
            <a:off x="2858004" y="2887269"/>
            <a:ext cx="49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t /app as working directory</a:t>
            </a:r>
            <a:endParaRPr lang="en-AT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60A15D-4435-488F-80A6-C1A9837A7DEC}"/>
              </a:ext>
            </a:extLst>
          </p:cNvPr>
          <p:cNvSpPr txBox="1"/>
          <p:nvPr/>
        </p:nvSpPr>
        <p:spPr>
          <a:xfrm>
            <a:off x="4239491" y="4000444"/>
            <a:ext cx="4961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ecute “app.py” with “python3”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5678686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CF68C6-4E74-46E0-BCC6-5ED592CD7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ng dependencies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14F87A-4BA6-45F8-A97A-F79A53B138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32610" y="962025"/>
            <a:ext cx="9288463" cy="4175125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FROM python:3.7.9-slim-buster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b="1" dirty="0"/>
              <a:t>RUN apt-get update -y &amp;&amp; apt-get install -y --no-install-recommends curl python3-pip python3-dev libsm6 libxext6 </a:t>
            </a:r>
            <a:r>
              <a:rPr lang="en-US" sz="1200" b="1" dirty="0" err="1"/>
              <a:t>libxrender</a:t>
            </a:r>
            <a:r>
              <a:rPr lang="en-US" sz="1200" b="1" dirty="0"/>
              <a:t>-dev </a:t>
            </a:r>
            <a:r>
              <a:rPr lang="en-US" sz="1200" b="1" dirty="0" err="1"/>
              <a:t>libatlas</a:t>
            </a:r>
            <a:r>
              <a:rPr lang="en-US" sz="1200" b="1" dirty="0"/>
              <a:t>-base-dev </a:t>
            </a:r>
            <a:r>
              <a:rPr lang="en-US" sz="1200" b="1" dirty="0" err="1"/>
              <a:t>libavcodec</a:t>
            </a:r>
            <a:r>
              <a:rPr lang="en-US" sz="1200" b="1" dirty="0"/>
              <a:t>-dev </a:t>
            </a:r>
            <a:r>
              <a:rPr lang="en-US" sz="1200" b="1" dirty="0" err="1"/>
              <a:t>libavformat</a:t>
            </a:r>
            <a:r>
              <a:rPr lang="en-US" sz="1200" b="1" dirty="0"/>
              <a:t>-dev </a:t>
            </a:r>
            <a:r>
              <a:rPr lang="en-US" sz="1200" b="1" dirty="0" err="1"/>
              <a:t>libswscale</a:t>
            </a:r>
            <a:r>
              <a:rPr lang="en-US" sz="1200" b="1" dirty="0"/>
              <a:t>-dev libv4l-dev </a:t>
            </a:r>
            <a:r>
              <a:rPr lang="en-US" sz="1200" b="1" dirty="0" err="1"/>
              <a:t>libxvidcore</a:t>
            </a:r>
            <a:r>
              <a:rPr lang="en-US" sz="1200" b="1" dirty="0"/>
              <a:t>-dev libx264-dev </a:t>
            </a:r>
            <a:r>
              <a:rPr lang="en-US" sz="1200" b="1" dirty="0" err="1"/>
              <a:t>libopencv</a:t>
            </a:r>
            <a:r>
              <a:rPr lang="en-US" sz="1200" b="1" dirty="0"/>
              <a:t>-dev build-essential pkg-config </a:t>
            </a:r>
            <a:r>
              <a:rPr lang="en-US" sz="1200" b="1" dirty="0" err="1"/>
              <a:t>libjpeg</a:t>
            </a:r>
            <a:r>
              <a:rPr lang="en-US" sz="1200" b="1" dirty="0"/>
              <a:t>-dev </a:t>
            </a:r>
            <a:r>
              <a:rPr lang="en-US" sz="1200" b="1" dirty="0" err="1"/>
              <a:t>libpng</a:t>
            </a:r>
            <a:r>
              <a:rPr lang="en-US" sz="1200" b="1" dirty="0"/>
              <a:t>-dev libgtk-3-dev &amp;&amp; rm -rf /var/lib/apt/lists/*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#Allow pi wheels </a:t>
            </a:r>
          </a:p>
          <a:p>
            <a:pPr marL="0" indent="0">
              <a:buNone/>
            </a:pPr>
            <a:r>
              <a:rPr lang="en-US" sz="1200" dirty="0"/>
              <a:t>RUN echo "[global]\</a:t>
            </a:r>
            <a:r>
              <a:rPr lang="en-US" sz="1200" dirty="0" err="1"/>
              <a:t>nextra</a:t>
            </a:r>
            <a:r>
              <a:rPr lang="en-US" sz="1200" dirty="0"/>
              <a:t>-index-</a:t>
            </a:r>
            <a:r>
              <a:rPr lang="en-US" sz="1200" dirty="0" err="1"/>
              <a:t>url</a:t>
            </a:r>
            <a:r>
              <a:rPr lang="en-US" sz="1200" dirty="0"/>
              <a:t>=https://www.piwheels.org/simple" &gt;&gt; /</a:t>
            </a:r>
            <a:r>
              <a:rPr lang="en-US" sz="1200" dirty="0" err="1"/>
              <a:t>etc</a:t>
            </a:r>
            <a:r>
              <a:rPr lang="en-US" sz="1200" dirty="0"/>
              <a:t>/</a:t>
            </a:r>
            <a:r>
              <a:rPr lang="en-US" sz="1200" dirty="0" err="1"/>
              <a:t>pip.conf</a:t>
            </a:r>
            <a:endParaRPr lang="en-US" sz="120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RUN </a:t>
            </a:r>
            <a:r>
              <a:rPr lang="en-US" sz="1200" dirty="0" err="1"/>
              <a:t>useradd</a:t>
            </a:r>
            <a:r>
              <a:rPr lang="en-US" sz="1200" dirty="0"/>
              <a:t> -</a:t>
            </a:r>
            <a:r>
              <a:rPr lang="en-US" sz="1200" dirty="0" err="1"/>
              <a:t>ms</a:t>
            </a:r>
            <a:r>
              <a:rPr lang="en-US" sz="1200" dirty="0"/>
              <a:t> /bin/bash username</a:t>
            </a:r>
          </a:p>
          <a:p>
            <a:pPr marL="0" indent="0">
              <a:buNone/>
            </a:pPr>
            <a:r>
              <a:rPr lang="en-US" sz="1200" dirty="0"/>
              <a:t>COPY . /app</a:t>
            </a:r>
          </a:p>
          <a:p>
            <a:pPr marL="0" indent="0">
              <a:buNone/>
            </a:pPr>
            <a:r>
              <a:rPr lang="en-US" sz="1200" dirty="0"/>
              <a:t>#Copy the requirements.txt to leverage Docker cache</a:t>
            </a:r>
          </a:p>
          <a:p>
            <a:pPr marL="0" indent="0">
              <a:buNone/>
            </a:pPr>
            <a:r>
              <a:rPr lang="en-US" sz="1200" b="1" dirty="0"/>
              <a:t>COPY ./requirements.txt /app/requirements.txt</a:t>
            </a:r>
          </a:p>
          <a:p>
            <a:pPr marL="0" indent="0">
              <a:buNone/>
            </a:pPr>
            <a:r>
              <a:rPr lang="en-US" sz="1200" dirty="0"/>
              <a:t>WORKDIR /app</a:t>
            </a:r>
          </a:p>
          <a:p>
            <a:pPr marL="0" indent="0">
              <a:buNone/>
            </a:pPr>
            <a:r>
              <a:rPr lang="en-US" sz="1200" dirty="0"/>
              <a:t># Upgrade pip and install requirements</a:t>
            </a:r>
          </a:p>
          <a:p>
            <a:pPr marL="0" indent="0">
              <a:buNone/>
            </a:pPr>
            <a:r>
              <a:rPr lang="en-US" sz="1200" b="1" dirty="0"/>
              <a:t>RUN pip3 install --upgrade pip; pip3 install --no-cache-</a:t>
            </a:r>
            <a:r>
              <a:rPr lang="en-US" sz="1200" b="1" dirty="0" err="1"/>
              <a:t>dir</a:t>
            </a:r>
            <a:r>
              <a:rPr lang="en-US" sz="1200" b="1" dirty="0"/>
              <a:t> -r requirements.txt;</a:t>
            </a:r>
          </a:p>
          <a:p>
            <a:pPr marL="0" indent="0">
              <a:buNone/>
            </a:pPr>
            <a:r>
              <a:rPr lang="en-US" sz="1200" dirty="0"/>
              <a:t>RUN ls</a:t>
            </a:r>
          </a:p>
          <a:p>
            <a:pPr marL="0" indent="0">
              <a:buNone/>
            </a:pPr>
            <a:r>
              <a:rPr lang="en-US" sz="1200" dirty="0"/>
              <a:t>ENTRYPOINT [ "python3" ]</a:t>
            </a:r>
          </a:p>
          <a:p>
            <a:pPr marL="0" indent="0">
              <a:buNone/>
            </a:pPr>
            <a:r>
              <a:rPr lang="en-US" sz="1200" dirty="0"/>
              <a:t>CMD [ "app.py" ]</a:t>
            </a:r>
            <a:endParaRPr lang="en-AT" sz="1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C297C-1C40-40EF-92CF-4109091F00A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D950DB-8EBA-4B84-BB69-1311BC4E5F3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A202C3-F941-4982-A525-B9DF082865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92423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15703-27EA-4B48-9988-8DB9B709A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deployment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BFE972-51F3-4F3F-9A75-5BF570E87B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Build docker image from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Dockerfile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ocker build -t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c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-assignme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.</a:t>
            </a:r>
          </a:p>
          <a:p>
            <a:pPr marL="0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# Run docker container locally</a:t>
            </a:r>
          </a:p>
          <a:p>
            <a:pPr marL="0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ocker run -v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al_directory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:/app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-d -p 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5000:5000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c</a:t>
            </a: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-assignment</a:t>
            </a:r>
            <a:endParaRPr lang="en-AT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4D0808-74C8-4922-93C6-7CC57DA8763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08100" y="5795962"/>
            <a:ext cx="9288463" cy="100013"/>
          </a:xfrm>
        </p:spPr>
        <p:txBody>
          <a:bodyPr/>
          <a:lstStyle/>
          <a:p>
            <a:endParaRPr lang="en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CE68C-B5B6-4DE2-B23E-C06455DD4B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Data Intensive Computing - Assignment 3 | Summer Semester 2022</a:t>
            </a:r>
            <a:endParaRPr lang="de-A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8A3E89-4798-4723-B274-A0C4368607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18394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-template</Template>
  <TotalTime>0</TotalTime>
  <Words>1417</Words>
  <Application>Microsoft Office PowerPoint</Application>
  <PresentationFormat>Widescreen</PresentationFormat>
  <Paragraphs>243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Courier New</vt:lpstr>
      <vt:lpstr>Arial</vt:lpstr>
      <vt:lpstr>Cambria</vt:lpstr>
      <vt:lpstr>Cambria Math</vt:lpstr>
      <vt:lpstr>TU Wien</vt:lpstr>
      <vt:lpstr>Data Intensive Computing</vt:lpstr>
      <vt:lpstr>Why Code Offloading?</vt:lpstr>
      <vt:lpstr>Code Offloading</vt:lpstr>
      <vt:lpstr>Offloading challenges</vt:lpstr>
      <vt:lpstr>Containers</vt:lpstr>
      <vt:lpstr>Docker vs Virtual Machines</vt:lpstr>
      <vt:lpstr>A basic Docker container</vt:lpstr>
      <vt:lpstr>Adding dependencies</vt:lpstr>
      <vt:lpstr>Container deployment</vt:lpstr>
      <vt:lpstr>Interoperation between local and remote machine</vt:lpstr>
      <vt:lpstr>Input/Output from HTTP REST interface</vt:lpstr>
      <vt:lpstr>Invoking Flask web service</vt:lpstr>
      <vt:lpstr>Assignment</vt:lpstr>
      <vt:lpstr>Data processing loop</vt:lpstr>
      <vt:lpstr>Target applications</vt:lpstr>
      <vt:lpstr>Dockerization</vt:lpstr>
      <vt:lpstr>Measuring time</vt:lpstr>
      <vt:lpstr>Your report</vt:lpstr>
      <vt:lpstr>Evaluation</vt:lpstr>
      <vt:lpstr>Questions?</vt:lpstr>
    </vt:vector>
  </TitlesOfParts>
  <Company>Technische Universität Wi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Intensive Computing</dc:title>
  <dc:creator>ict-admin</dc:creator>
  <cp:lastModifiedBy>ict-admin</cp:lastModifiedBy>
  <cp:revision>24</cp:revision>
  <dcterms:created xsi:type="dcterms:W3CDTF">2022-05-16T09:14:08Z</dcterms:created>
  <dcterms:modified xsi:type="dcterms:W3CDTF">2022-05-22T09:5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